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0"/>
  </p:notesMasterIdLst>
  <p:handoutMasterIdLst>
    <p:handoutMasterId r:id="rId11"/>
  </p:handoutMasterIdLst>
  <p:sldIdLst>
    <p:sldId id="256" r:id="rId5"/>
    <p:sldId id="393" r:id="rId6"/>
    <p:sldId id="404" r:id="rId7"/>
    <p:sldId id="402" r:id="rId8"/>
    <p:sldId id="405" r:id="rId9"/>
  </p:sldIdLst>
  <p:sldSz cx="9144000" cy="5143500" type="screen16x9"/>
  <p:notesSz cx="6797675" cy="9928225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90" userDrawn="1">
          <p15:clr>
            <a:srgbClr val="A4A3A4"/>
          </p15:clr>
        </p15:guide>
        <p15:guide id="2" pos="284" userDrawn="1">
          <p15:clr>
            <a:srgbClr val="A4A3A4"/>
          </p15:clr>
        </p15:guide>
        <p15:guide id="3" pos="2824" userDrawn="1">
          <p15:clr>
            <a:srgbClr val="A4A3A4"/>
          </p15:clr>
        </p15:guide>
        <p15:guide id="4" pos="2936" userDrawn="1">
          <p15:clr>
            <a:srgbClr val="A4A3A4"/>
          </p15:clr>
        </p15:guide>
        <p15:guide id="6" orient="horz" pos="781" userDrawn="1">
          <p15:clr>
            <a:srgbClr val="A4A3A4"/>
          </p15:clr>
        </p15:guide>
        <p15:guide id="7" pos="54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CA5AF09-52D5-42DB-856C-0EA6FAEC0519}" v="1" dt="2022-06-29T08:06:11.429"/>
  </p1510:revLst>
</p1510:revInfo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6036" autoAdjust="0"/>
  </p:normalViewPr>
  <p:slideViewPr>
    <p:cSldViewPr snapToGrid="0">
      <p:cViewPr varScale="1">
        <p:scale>
          <a:sx n="184" d="100"/>
          <a:sy n="184" d="100"/>
        </p:scale>
        <p:origin x="168" y="696"/>
      </p:cViewPr>
      <p:guideLst>
        <p:guide orient="horz" pos="2890"/>
        <p:guide pos="284"/>
        <p:guide pos="2824"/>
        <p:guide pos="2936"/>
        <p:guide orient="horz" pos="781"/>
        <p:guide pos="547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8" d="100"/>
          <a:sy n="78" d="100"/>
        </p:scale>
        <p:origin x="2796" y="68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DBFC116-0A75-42B5-A04E-F8BD0D6498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135"/>
          </a:xfrm>
          <a:prstGeom prst="rect">
            <a:avLst/>
          </a:prstGeom>
        </p:spPr>
        <p:txBody>
          <a:bodyPr vert="horz" lIns="91442" tIns="45721" rIns="91442" bIns="45721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9B0CF9B-D954-42B7-B17E-338E3FF69C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135"/>
          </a:xfrm>
          <a:prstGeom prst="rect">
            <a:avLst/>
          </a:prstGeom>
        </p:spPr>
        <p:txBody>
          <a:bodyPr vert="horz" lIns="91442" tIns="45721" rIns="91442" bIns="45721" rtlCol="0"/>
          <a:lstStyle>
            <a:lvl1pPr algn="r">
              <a:defRPr sz="1200"/>
            </a:lvl1pPr>
          </a:lstStyle>
          <a:p>
            <a:fld id="{7DD7338C-558B-4699-B3FB-1110B8EA4586}" type="datetimeFigureOut">
              <a:rPr lang="de-DE" smtClean="0"/>
              <a:t>29.06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54D72FA-85CC-4596-9FF4-9ED4A04B2BB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30092"/>
            <a:ext cx="2945659" cy="498134"/>
          </a:xfrm>
          <a:prstGeom prst="rect">
            <a:avLst/>
          </a:prstGeom>
        </p:spPr>
        <p:txBody>
          <a:bodyPr vert="horz" lIns="91442" tIns="45721" rIns="91442" bIns="45721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88BB88-0E94-40AD-91D8-222A3B335C8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30092"/>
            <a:ext cx="2945659" cy="498134"/>
          </a:xfrm>
          <a:prstGeom prst="rect">
            <a:avLst/>
          </a:prstGeom>
        </p:spPr>
        <p:txBody>
          <a:bodyPr vert="horz" lIns="91442" tIns="45721" rIns="91442" bIns="45721" rtlCol="0" anchor="b"/>
          <a:lstStyle>
            <a:lvl1pPr algn="r">
              <a:defRPr sz="1200"/>
            </a:lvl1pPr>
          </a:lstStyle>
          <a:p>
            <a:fld id="{AB7DA3FD-D6B2-4777-A342-E12BB081EB6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86936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135"/>
          </a:xfrm>
          <a:prstGeom prst="rect">
            <a:avLst/>
          </a:prstGeom>
        </p:spPr>
        <p:txBody>
          <a:bodyPr vert="horz" lIns="91442" tIns="45721" rIns="91442" bIns="4572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135"/>
          </a:xfrm>
          <a:prstGeom prst="rect">
            <a:avLst/>
          </a:prstGeom>
        </p:spPr>
        <p:txBody>
          <a:bodyPr vert="horz" lIns="91442" tIns="45721" rIns="91442" bIns="45721" rtlCol="0"/>
          <a:lstStyle>
            <a:lvl1pPr algn="r">
              <a:defRPr sz="1200"/>
            </a:lvl1pPr>
          </a:lstStyle>
          <a:p>
            <a:fld id="{C012F3CF-33A8-431F-AD91-991887D9CE92}" type="datetimeFigureOut">
              <a:rPr lang="en-US" smtClean="0"/>
              <a:t>6/29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69925" y="923925"/>
            <a:ext cx="5457825" cy="3070225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txBody>
          <a:bodyPr vert="horz" lIns="91442" tIns="45721" rIns="91442" bIns="45721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625" y="4297877"/>
            <a:ext cx="6034426" cy="480735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8134"/>
          </a:xfrm>
          <a:prstGeom prst="rect">
            <a:avLst/>
          </a:prstGeom>
        </p:spPr>
        <p:txBody>
          <a:bodyPr vert="horz" lIns="91442" tIns="45721" rIns="91442" bIns="4572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8134"/>
          </a:xfrm>
          <a:prstGeom prst="rect">
            <a:avLst/>
          </a:prstGeom>
        </p:spPr>
        <p:txBody>
          <a:bodyPr vert="horz" lIns="91442" tIns="45721" rIns="91442" bIns="45721" rtlCol="0" anchor="b"/>
          <a:lstStyle>
            <a:lvl1pPr algn="r">
              <a:defRPr sz="1200"/>
            </a:lvl1pPr>
          </a:lstStyle>
          <a:p>
            <a:fld id="{184F251E-0D5E-4CFD-ACCC-9623B92A1BF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776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defTabSz="685800" rtl="0" eaLnBrk="1" latinLnBrk="0" hangingPunct="1">
      <a:buClr>
        <a:schemeClr val="accent2"/>
      </a:buClr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953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69925" y="923925"/>
            <a:ext cx="5457825" cy="3070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F251E-0D5E-4CFD-ACCC-9623B92A1BF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9061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69925" y="923925"/>
            <a:ext cx="5457825" cy="3070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F251E-0D5E-4CFD-ACCC-9623B92A1BF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3967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69925" y="923925"/>
            <a:ext cx="5457825" cy="3070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F251E-0D5E-4CFD-ACCC-9623B92A1BF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385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69925" y="923925"/>
            <a:ext cx="5457825" cy="3070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F251E-0D5E-4CFD-ACCC-9623B92A1BF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5892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3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178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2C9396F-0E27-4874-B398-5F2BB788CF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9144000" cy="3470400"/>
          </a:xfrm>
          <a:solidFill>
            <a:schemeClr val="bg2"/>
          </a:solidFill>
          <a:ln>
            <a:noFill/>
          </a:ln>
        </p:spPr>
        <p:txBody>
          <a:bodyPr lIns="108000" tIns="72000" rIns="108000" bIns="72000"/>
          <a:lstStyle>
            <a:lvl1pPr>
              <a:spcBef>
                <a:spcPts val="0"/>
              </a:spcBef>
              <a:defRPr/>
            </a:lvl1pPr>
          </a:lstStyle>
          <a:p>
            <a:r>
              <a:rPr lang="de-DE"/>
              <a:t>Durch Klicken auf das Symbol ein Bild einfüg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5A3ACC9-18FF-40A5-890D-49F66796A792}"/>
              </a:ext>
            </a:extLst>
          </p:cNvPr>
          <p:cNvSpPr/>
          <p:nvPr userDrawn="1"/>
        </p:nvSpPr>
        <p:spPr bwMode="gray">
          <a:xfrm>
            <a:off x="4260800" y="3469749"/>
            <a:ext cx="4883200" cy="5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260800" y="2202549"/>
            <a:ext cx="4881600" cy="1267200"/>
          </a:xfrm>
          <a:solidFill>
            <a:schemeClr val="accent1"/>
          </a:solidFill>
        </p:spPr>
        <p:txBody>
          <a:bodyPr lIns="360000" rIns="360000" anchor="ctr"/>
          <a:lstStyle>
            <a:lvl1pPr algn="l"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Präsentationstitel</a:t>
            </a:r>
            <a:br>
              <a:rPr lang="de-DE"/>
            </a:br>
            <a:r>
              <a:rPr lang="de-DE"/>
              <a:t>in max. zwei Zeilen</a:t>
            </a:r>
          </a:p>
        </p:txBody>
      </p:sp>
      <p:sp>
        <p:nvSpPr>
          <p:cNvPr id="19" name="Gleichschenkliges Dreieck 18">
            <a:extLst>
              <a:ext uri="{FF2B5EF4-FFF2-40B4-BE49-F238E27FC236}">
                <a16:creationId xmlns:a16="http://schemas.microsoft.com/office/drawing/2014/main" id="{0DDFBC0F-5C2D-4296-9BD2-08212B14804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646443" y="3469400"/>
            <a:ext cx="215995" cy="108000"/>
          </a:xfrm>
          <a:prstGeom prst="triangle">
            <a:avLst/>
          </a:prstGeom>
          <a:solidFill>
            <a:srgbClr val="0033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03366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60800" y="3470098"/>
            <a:ext cx="4881600" cy="576000"/>
          </a:xfrm>
          <a:noFill/>
          <a:ln>
            <a:noFill/>
          </a:ln>
        </p:spPr>
        <p:txBody>
          <a:bodyPr lIns="360000" rIns="360000" anchor="ctr"/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Untertitel in max. eine Zeile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5BB91870-8B6B-44F4-8C93-5C0E780D17F5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70EFADB4-016E-4B33-8790-11A56A804D9E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D11445A3-A2A6-465D-8B34-E48D48B6EACE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8B014DEC-98C7-4D2E-B7C6-A47F68BDD78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7AB73926-F427-4847-9278-464B8C8BB1DB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700DAE0A-F534-47E4-A20A-6BD935B71D46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3C192E67-7316-4136-966F-586B6DA2DB9F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B277B64-1C27-4058-BB9D-4B3D2B398C05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50575BB-94E5-45C5-BA35-F45DCF30DB62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D8CD6AC-C476-4082-8F25-D99CE3E15423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1F9DF423-1598-4D30-BB68-13B4B661B8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0DEFE313-F36A-483C-A7D0-4313F247F2E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BFAB5E2B-8E39-44E7-B19A-33ED8081761B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172AFAAB-2EAD-4C71-B14D-F2470FC173C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F4665723-F552-42C4-B9B4-165AAA3C8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E14499A7-16CD-8943-B7B2-2AA53F80D79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32000" y="4226400"/>
            <a:ext cx="2824090" cy="628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28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7273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3F1C607-D25A-49A4-9B79-3447DDCF5A0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49262" y="1239838"/>
            <a:ext cx="8243887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/>
            </a:lvl1pPr>
          </a:lstStyle>
          <a:p>
            <a:r>
              <a:rPr lang="de-DE"/>
              <a:t>Durch Klicken auf das Symbol </a:t>
            </a:r>
            <a:br>
              <a:rPr lang="de-DE"/>
            </a:br>
            <a:r>
              <a:rPr lang="de-DE"/>
              <a:t>ein Bild einfügen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D5423DAE-672C-0D45-B21E-A189B7645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6187785" cy="246221"/>
          </a:xfrm>
        </p:spPr>
        <p:txBody>
          <a:bodyPr anchor="b" anchorCtr="0"/>
          <a:lstStyle/>
          <a:p>
            <a:r>
              <a:rPr lang="de-DE"/>
              <a:t>Folientitel hinzufügen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7CDDB4BD-07EE-2E42-B02F-BA63BC5143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21751"/>
            <a:ext cx="6187784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12639016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 Spalten Text – 1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460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6" y="1239838"/>
            <a:ext cx="2628000" cy="3348037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57632" y="1239838"/>
            <a:ext cx="2628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066000" y="1239838"/>
            <a:ext cx="2628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2D38E494-0BA8-F94B-8518-CB6FF6D7D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6187785" cy="246221"/>
          </a:xfrm>
        </p:spPr>
        <p:txBody>
          <a:bodyPr anchor="b" anchorCtr="0"/>
          <a:lstStyle/>
          <a:p>
            <a:r>
              <a:rPr lang="de-DE"/>
              <a:t>Folientitel hinzufügen</a:t>
            </a:r>
          </a:p>
        </p:txBody>
      </p:sp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42915672-061D-B741-9E54-7FB8E89A16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21751"/>
            <a:ext cx="6187784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8674125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 Spalten Text – 2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3778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6" y="1239838"/>
            <a:ext cx="2628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57632" y="1239838"/>
            <a:ext cx="2628000" cy="3348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066000" y="1239838"/>
            <a:ext cx="2628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37688968-7C99-CC41-8E66-83C804A2A9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6187785" cy="246221"/>
          </a:xfrm>
        </p:spPr>
        <p:txBody>
          <a:bodyPr anchor="b" anchorCtr="0"/>
          <a:lstStyle/>
          <a:p>
            <a:r>
              <a:rPr lang="de-DE"/>
              <a:t>Folientitel hinzufügen</a:t>
            </a:r>
          </a:p>
        </p:txBody>
      </p:sp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047450C3-2C82-DC4B-8A40-F341DE3050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21751"/>
            <a:ext cx="6187784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2335927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 Spalten Text – 3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263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6" y="1239838"/>
            <a:ext cx="2628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57632" y="1239838"/>
            <a:ext cx="2628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066000" y="1239838"/>
            <a:ext cx="2628000" cy="3348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CCEA1042-FD35-1344-AE56-1DF1CDAFF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6187785" cy="246221"/>
          </a:xfrm>
        </p:spPr>
        <p:txBody>
          <a:bodyPr anchor="b" anchorCtr="0"/>
          <a:lstStyle/>
          <a:p>
            <a:r>
              <a:rPr lang="de-DE"/>
              <a:t>Folientitel hinzufügen</a:t>
            </a:r>
          </a:p>
        </p:txBody>
      </p:sp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4DBE2BE5-7F14-C14A-9827-3689E9F044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21751"/>
            <a:ext cx="6187784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2815338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Spalten Text – 1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8992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5" y="1239838"/>
            <a:ext cx="1926000" cy="3348037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 marL="540000" indent="0">
              <a:buNone/>
              <a:defRPr/>
            </a:lvl6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A97833A-1F49-42D2-AB3B-301E9766D3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55632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6pPr marL="540000" indent="0">
              <a:buNone/>
              <a:defRPr/>
            </a:lvl6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2000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68368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5pPr>
              <a:defRPr/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34D7B58F-A1BD-E640-94D8-0EF9C29F1B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6187785" cy="246221"/>
          </a:xfrm>
        </p:spPr>
        <p:txBody>
          <a:bodyPr anchor="b" anchorCtr="0"/>
          <a:lstStyle/>
          <a:p>
            <a:r>
              <a:rPr lang="de-DE"/>
              <a:t>Folientitel hinzufügen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B01A675D-FC40-624F-BC35-5AEA9574BA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21751"/>
            <a:ext cx="6187784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5429493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Spalten Text – 2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4892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5" y="1239838"/>
            <a:ext cx="1926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  <a:lvl6pPr marL="540000" indent="0">
              <a:buNone/>
              <a:defRPr/>
            </a:lvl6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A97833A-1F49-42D2-AB3B-301E9766D3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55632" y="1239838"/>
            <a:ext cx="1926000" cy="3348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 marL="540000" indent="0">
              <a:buNone/>
              <a:defRPr/>
            </a:lvl6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2000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68368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5pPr>
              <a:defRPr/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7A3C3B02-A611-AC44-9EEE-FFAC49628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6187785" cy="246221"/>
          </a:xfrm>
        </p:spPr>
        <p:txBody>
          <a:bodyPr anchor="b" anchorCtr="0"/>
          <a:lstStyle/>
          <a:p>
            <a:r>
              <a:rPr lang="de-DE"/>
              <a:t>Folientitel hinzufügen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D5C3357-C4D3-C64E-A4EE-CA7E6D452D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21751"/>
            <a:ext cx="6187784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2724232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Spalten Text – 3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58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5" y="1239838"/>
            <a:ext cx="1926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  <a:lvl6pPr marL="540000" indent="0">
              <a:buNone/>
              <a:defRPr/>
            </a:lvl6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A97833A-1F49-42D2-AB3B-301E9766D3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55632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6pPr marL="540000" indent="0">
              <a:buNone/>
              <a:defRPr/>
            </a:lvl6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2000" y="1239838"/>
            <a:ext cx="1926000" cy="3348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68368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5pPr>
              <a:defRPr/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229EAE89-A815-E245-966F-FD57D1105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6187785" cy="246221"/>
          </a:xfrm>
        </p:spPr>
        <p:txBody>
          <a:bodyPr anchor="b" anchorCtr="0"/>
          <a:lstStyle/>
          <a:p>
            <a:r>
              <a:rPr lang="de-DE"/>
              <a:t>Folientitel hinzufügen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0F26D020-8328-1F40-A792-2DF709B337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21751"/>
            <a:ext cx="6187784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4644626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Spalten Text – 4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28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5" y="1239838"/>
            <a:ext cx="1926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  <a:lvl6pPr marL="540000" indent="0">
              <a:buNone/>
              <a:defRPr/>
            </a:lvl6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A97833A-1F49-42D2-AB3B-301E9766D3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55632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6pPr marL="540000" indent="0">
              <a:buNone/>
              <a:defRPr/>
            </a:lvl6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2000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68368" y="1239838"/>
            <a:ext cx="1926000" cy="3348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FC7D3D38-C633-8A4B-9E0F-82C2C2DE6A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6187785" cy="246221"/>
          </a:xfrm>
        </p:spPr>
        <p:txBody>
          <a:bodyPr anchor="b" anchorCtr="0"/>
          <a:lstStyle/>
          <a:p>
            <a:r>
              <a:rPr lang="de-DE"/>
              <a:t>Folientitel hinzufügen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2644FE69-3D55-9147-B945-FF74BEC5E8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21751"/>
            <a:ext cx="6187784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21845830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3399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E90AA676-3A89-4B8C-A511-1BE7F0CA5993}"/>
              </a:ext>
            </a:extLst>
          </p:cNvPr>
          <p:cNvSpPr>
            <a:spLocks/>
          </p:cNvSpPr>
          <p:nvPr userDrawn="1"/>
        </p:nvSpPr>
        <p:spPr bwMode="gray">
          <a:xfrm>
            <a:off x="449263" y="2923454"/>
            <a:ext cx="2628000" cy="955028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vert="horz" lIns="180000" tIns="180000" rIns="108000" bIns="144000" rtlCol="0">
            <a:noAutofit/>
          </a:bodyPr>
          <a:lstStyle/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endParaRPr lang="de-DE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Gleichschenkliges Dreieck 34">
            <a:extLst>
              <a:ext uri="{FF2B5EF4-FFF2-40B4-BE49-F238E27FC236}">
                <a16:creationId xmlns:a16="http://schemas.microsoft.com/office/drawing/2014/main" id="{7A62AE01-0D82-4AFB-8085-65C9D2CA626D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600451" y="2923454"/>
            <a:ext cx="215995" cy="108000"/>
          </a:xfrm>
          <a:prstGeom prst="triangle">
            <a:avLst/>
          </a:prstGeom>
          <a:solidFill>
            <a:srgbClr val="009DD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>
              <a:solidFill>
                <a:schemeClr val="bg1"/>
              </a:solidFill>
            </a:endParaRPr>
          </a:p>
        </p:txBody>
      </p:sp>
      <p:sp>
        <p:nvSpPr>
          <p:cNvPr id="36" name="Gleichschenkliges Dreieck 35">
            <a:extLst>
              <a:ext uri="{FF2B5EF4-FFF2-40B4-BE49-F238E27FC236}">
                <a16:creationId xmlns:a16="http://schemas.microsoft.com/office/drawing/2014/main" id="{43BCDE62-2119-4BCB-99D4-3A3F851B311C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3400297" y="2923454"/>
            <a:ext cx="215995" cy="108000"/>
          </a:xfrm>
          <a:prstGeom prst="triangle">
            <a:avLst/>
          </a:prstGeom>
          <a:solidFill>
            <a:srgbClr val="009DD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>
              <a:solidFill>
                <a:schemeClr val="bg1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2550B99-4996-4F04-8FA2-DC0FB49F744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49263" y="1239838"/>
            <a:ext cx="1004400" cy="1004400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 sz="700"/>
            </a:lvl1pPr>
          </a:lstStyle>
          <a:p>
            <a:r>
              <a:rPr lang="de-DE"/>
              <a:t>Durch Klicken </a:t>
            </a:r>
            <a:br>
              <a:rPr lang="de-DE"/>
            </a:br>
            <a:r>
              <a:rPr lang="de-DE"/>
              <a:t>auf das Symbol </a:t>
            </a:r>
            <a:br>
              <a:rPr lang="de-DE"/>
            </a:br>
            <a:r>
              <a:rPr lang="de-DE"/>
              <a:t>ein Bild ein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02F6050-9D7A-4590-AA9A-A7A33778EF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9263" y="2383454"/>
            <a:ext cx="2628000" cy="540000"/>
          </a:xfrm>
          <a:solidFill>
            <a:schemeClr val="accent2"/>
          </a:solidFill>
        </p:spPr>
        <p:txBody>
          <a:bodyPr lIns="180000" tIns="0" rIns="180000" bIns="0" anchor="ctr" anchorCtr="0"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7CC1154-8FC7-4FB4-BBB8-7FCBD1AD48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9263" y="2923454"/>
            <a:ext cx="2628000" cy="955028"/>
          </a:xfrm>
        </p:spPr>
        <p:txBody>
          <a:bodyPr lIns="180000" tIns="180000" rIns="180000" bIns="144000"/>
          <a:lstStyle>
            <a:lvl1pPr>
              <a:spcBef>
                <a:spcPts val="300"/>
              </a:spcBef>
              <a:defRPr sz="12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20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r>
              <a:rPr lang="de-DE" sz="1200" b="1"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</a:p>
          <a:p>
            <a:pPr lvl="1"/>
            <a:r>
              <a:rPr lang="de-DE"/>
              <a:t>Emailadresse</a:t>
            </a:r>
          </a:p>
          <a:p>
            <a:pPr lvl="1"/>
            <a:r>
              <a:rPr lang="de-DE"/>
              <a:t>Telefonnummer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B3CF1BAB-F95F-4576-A3EC-168BAD168DA4}"/>
              </a:ext>
            </a:extLst>
          </p:cNvPr>
          <p:cNvSpPr>
            <a:spLocks noGrp="1"/>
          </p:cNvSpPr>
          <p:nvPr userDrawn="1">
            <p:ph type="pic" sz="quarter" idx="20" hasCustomPrompt="1"/>
          </p:nvPr>
        </p:nvSpPr>
        <p:spPr bwMode="gray">
          <a:xfrm>
            <a:off x="3257815" y="1239838"/>
            <a:ext cx="1004400" cy="1004400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 sz="700"/>
            </a:lvl1pPr>
          </a:lstStyle>
          <a:p>
            <a:r>
              <a:rPr lang="de-DE"/>
              <a:t>Durch Klicken </a:t>
            </a:r>
            <a:br>
              <a:rPr lang="de-DE"/>
            </a:br>
            <a:r>
              <a:rPr lang="de-DE"/>
              <a:t>auf das Symbol </a:t>
            </a:r>
            <a:br>
              <a:rPr lang="de-DE"/>
            </a:br>
            <a:r>
              <a:rPr lang="de-DE"/>
              <a:t>ein Bild einfüge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5D4C43A8-89ED-4EB9-97D7-747C5DDFF105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 bwMode="gray">
          <a:xfrm>
            <a:off x="3309435" y="2206887"/>
            <a:ext cx="2628000" cy="540000"/>
          </a:xfrm>
          <a:solidFill>
            <a:schemeClr val="accent2"/>
          </a:solidFill>
        </p:spPr>
        <p:txBody>
          <a:bodyPr lIns="180000" tIns="0" rIns="180000" bIns="0" anchor="ctr" anchorCtr="0"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C8894A11-D774-4CDC-8BD4-F4D7D626632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 bwMode="gray">
          <a:xfrm>
            <a:off x="5742919" y="3100021"/>
            <a:ext cx="2628000" cy="955028"/>
          </a:xfrm>
        </p:spPr>
        <p:txBody>
          <a:bodyPr lIns="180000" tIns="180000" rIns="180000" bIns="144000"/>
          <a:lstStyle>
            <a:lvl1pPr>
              <a:spcBef>
                <a:spcPts val="300"/>
              </a:spcBef>
              <a:defRPr sz="12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20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</a:p>
          <a:p>
            <a:pPr lvl="1"/>
            <a:r>
              <a:rPr lang="de-DE" dirty="0"/>
              <a:t>Emailadresse</a:t>
            </a:r>
          </a:p>
          <a:p>
            <a:pPr lvl="1"/>
            <a:r>
              <a:rPr lang="de-DE" dirty="0"/>
              <a:t>Telefonnummer</a:t>
            </a:r>
          </a:p>
        </p:txBody>
      </p:sp>
      <p:sp>
        <p:nvSpPr>
          <p:cNvPr id="40" name="Gleichschenkliges Dreieck 39">
            <a:extLst>
              <a:ext uri="{FF2B5EF4-FFF2-40B4-BE49-F238E27FC236}">
                <a16:creationId xmlns:a16="http://schemas.microsoft.com/office/drawing/2014/main" id="{F1082862-6487-4C47-925D-51855043F42B}"/>
              </a:ext>
            </a:extLst>
          </p:cNvPr>
          <p:cNvSpPr>
            <a:spLocks noChangeAspect="1"/>
          </p:cNvSpPr>
          <p:nvPr userDrawn="1"/>
        </p:nvSpPr>
        <p:spPr bwMode="gray">
          <a:xfrm rot="5400000">
            <a:off x="395266" y="4251685"/>
            <a:ext cx="215995" cy="108000"/>
          </a:xfrm>
          <a:prstGeom prst="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0107648-CE6E-5B4B-9855-1616A361335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2068" y="4121538"/>
            <a:ext cx="8242300" cy="457200"/>
          </a:xfrm>
          <a:prstGeom prst="rect">
            <a:avLst/>
          </a:prstGeom>
        </p:spPr>
      </p:pic>
      <p:sp>
        <p:nvSpPr>
          <p:cNvPr id="26" name="Titel 1">
            <a:extLst>
              <a:ext uri="{FF2B5EF4-FFF2-40B4-BE49-F238E27FC236}">
                <a16:creationId xmlns:a16="http://schemas.microsoft.com/office/drawing/2014/main" id="{C163E594-3576-1D48-A4D2-ADE44D053A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6187785" cy="246221"/>
          </a:xfrm>
        </p:spPr>
        <p:txBody>
          <a:bodyPr anchor="b" anchorCtr="0"/>
          <a:lstStyle/>
          <a:p>
            <a:r>
              <a:rPr lang="de-DE"/>
              <a:t>Folientitel hinzufügen</a:t>
            </a:r>
          </a:p>
        </p:txBody>
      </p:sp>
      <p:sp>
        <p:nvSpPr>
          <p:cNvPr id="28" name="Textplatzhalter 13">
            <a:extLst>
              <a:ext uri="{FF2B5EF4-FFF2-40B4-BE49-F238E27FC236}">
                <a16:creationId xmlns:a16="http://schemas.microsoft.com/office/drawing/2014/main" id="{D59EADD8-24AE-FD4C-B4DB-C8E0498E22D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21751"/>
            <a:ext cx="6187784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7063721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Dru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056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2ECD246-8717-4DD6-8D29-C4FE616DD6CF}"/>
              </a:ext>
            </a:extLst>
          </p:cNvPr>
          <p:cNvSpPr/>
          <p:nvPr userDrawn="1"/>
        </p:nvSpPr>
        <p:spPr bwMode="gray">
          <a:xfrm>
            <a:off x="0" y="0"/>
            <a:ext cx="9144000" cy="5144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37272" y="3387412"/>
            <a:ext cx="7004666" cy="861774"/>
          </a:xfrm>
          <a:noFill/>
        </p:spPr>
        <p:txBody>
          <a:bodyPr lIns="0" rIns="0" anchor="b" anchorCtr="0">
            <a:noAutofit/>
          </a:bodyPr>
          <a:lstStyle>
            <a:lvl1pPr algn="l">
              <a:spcBef>
                <a:spcPts val="0"/>
              </a:spcBef>
              <a:defRPr sz="2800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Dies ist eine Kapitelüberschrift</a:t>
            </a:r>
            <a:br>
              <a:rPr lang="de-DE"/>
            </a:br>
            <a:r>
              <a:rPr lang="de-DE"/>
              <a:t>in max. zwei Zeil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37271" y="4306850"/>
            <a:ext cx="7004666" cy="215444"/>
          </a:xfrm>
          <a:noFill/>
          <a:ln>
            <a:noFill/>
          </a:ln>
        </p:spPr>
        <p:txBody>
          <a:bodyPr lIns="0" r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Untertitel in max. eine Zeile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6138B1F-B0D8-4BB9-A504-E08198FF2FD4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F316D8C-A578-4194-8E21-6CF5678893BC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461DAEAA-10E9-4839-BA44-9042868A1350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645002F7-5ADE-4427-B133-AFD1A4504BD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74AC1238-89EA-418F-8977-55F0FD702989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EBBB4E1-427F-4D8E-A0DF-1FBB6E124E9A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A19E380-0298-4D2C-BF8B-4EB2D845314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B4CC1DAC-B49E-4C98-8178-5D98D48125B2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84B42F25-70F2-46FE-A4FA-23A03BFBA076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C1ADEEC-7D82-4273-B29C-F358247BA34B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BF8E259C-F62C-45B1-ACE0-F81FF4BC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167A3613-EA95-431D-9D75-8AFC8DECEE8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36190D3-1001-454A-BF3C-31BEE518B9C1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F98F90D7-8D2F-432C-B54A-A0CD3A7718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5B48D6B4-7165-4AF1-B671-4BDCDA2FED8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3" name="Grafik 22">
            <a:extLst>
              <a:ext uri="{FF2B5EF4-FFF2-40B4-BE49-F238E27FC236}">
                <a16:creationId xmlns:a16="http://schemas.microsoft.com/office/drawing/2014/main" id="{512711D6-CA9D-054F-9D45-C3A9045857B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6751682" y="247351"/>
            <a:ext cx="1941467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064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ildschirm/Bea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790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2ECD246-8717-4DD6-8D29-C4FE616DD6CF}"/>
              </a:ext>
            </a:extLst>
          </p:cNvPr>
          <p:cNvSpPr/>
          <p:nvPr userDrawn="1"/>
        </p:nvSpPr>
        <p:spPr bwMode="gray">
          <a:xfrm>
            <a:off x="0" y="0"/>
            <a:ext cx="9144000" cy="514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37272" y="3387412"/>
            <a:ext cx="7004666" cy="861774"/>
          </a:xfrm>
          <a:noFill/>
        </p:spPr>
        <p:txBody>
          <a:bodyPr lIns="0" rIns="0" anchor="b" anchorCtr="0">
            <a:noAutofit/>
          </a:bodyPr>
          <a:lstStyle>
            <a:lvl1pPr algn="l"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Dies ist eine Kapitelüberschrift</a:t>
            </a:r>
            <a:br>
              <a:rPr lang="de-DE"/>
            </a:br>
            <a:r>
              <a:rPr lang="de-DE"/>
              <a:t>in max. zwei Zeil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37271" y="4306850"/>
            <a:ext cx="7004666" cy="215444"/>
          </a:xfrm>
          <a:noFill/>
          <a:ln>
            <a:noFill/>
          </a:ln>
        </p:spPr>
        <p:txBody>
          <a:bodyPr lIns="0" r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Untertitel in max. eine Zeile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3DDF9A30-E837-489A-ACB1-332682E4DA33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9FED959C-055C-420D-ACBE-FCCE4A84A4FC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0B4221-9FFF-4574-A7E8-CC7BB4E774E7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325246AA-7726-4DE4-8598-CB3725064E85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ED5BE621-8B81-461D-B4D3-E1F0DC9338DA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483FE5D1-C251-4202-B195-06D5B1B6DDA4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BDDB1C19-2C6C-46A1-ACD5-C3442575C71E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423FBFE3-B724-4E4A-AEB5-539498F72702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02DD7028-0F99-4B5C-8C93-46DD532EF495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AE6EC5DD-C87E-4D48-AAE8-47A7FF42AF07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27DBEF06-EC80-4E61-8AD5-BA4CA8261A6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EE613173-278A-4F52-9E33-05111F2C5A7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4E35E6ED-9AE0-41F4-9031-ACE8E89B4D7D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E4423644-616F-4A8C-A817-E504F8D677E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06511C4B-CFA1-4CEF-8485-5A374F0F93A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3" name="Grafik 22">
            <a:extLst>
              <a:ext uri="{FF2B5EF4-FFF2-40B4-BE49-F238E27FC236}">
                <a16:creationId xmlns:a16="http://schemas.microsoft.com/office/drawing/2014/main" id="{882890AF-1E88-7648-B327-74E926E22DC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6751682" y="247351"/>
            <a:ext cx="1941467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3326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739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12A4FC5-CED0-444A-9B5C-7B485B922F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>
            <a:lvl1pPr marL="358775" indent="-358775">
              <a:spcBef>
                <a:spcPts val="1200"/>
              </a:spcBef>
              <a:buFont typeface="+mj-lt"/>
              <a:buAutoNum type="romanUcPeriod"/>
              <a:defRPr b="0"/>
            </a:lvl1pPr>
            <a:lvl2pPr marL="630000" indent="-2700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/>
            </a:lvl2pPr>
            <a:lvl3pPr marL="898525" indent="-270000">
              <a:spcBef>
                <a:spcPts val="0"/>
              </a:spcBef>
              <a:buClr>
                <a:schemeClr val="tx1"/>
              </a:buClr>
              <a:buFont typeface="+mj-lt"/>
              <a:buAutoNum type="alphaLcPeriod"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42BC36F8-3473-1D4A-854C-E4637C8E1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6187785" cy="246221"/>
          </a:xfrm>
        </p:spPr>
        <p:txBody>
          <a:bodyPr anchor="b" anchorCtr="0"/>
          <a:lstStyle/>
          <a:p>
            <a:r>
              <a:rPr lang="de-DE"/>
              <a:t>Folientitel hinzufügen</a:t>
            </a:r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0345DA31-B9D9-0745-B8C2-FEE2652891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21751"/>
            <a:ext cx="6187784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1722090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3843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4" y="1239838"/>
            <a:ext cx="8243886" cy="3348037"/>
          </a:xfrm>
          <a:noFill/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  <a:p>
            <a:pPr lvl="7"/>
            <a:r>
              <a:rPr lang="de-DE"/>
              <a:t>Siebte Ebene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D90D4B12-B5BC-7248-955D-DD60DC013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6187785" cy="246221"/>
          </a:xfrm>
        </p:spPr>
        <p:txBody>
          <a:bodyPr anchor="b" anchorCtr="0"/>
          <a:lstStyle/>
          <a:p>
            <a:r>
              <a:rPr lang="de-DE"/>
              <a:t>Folientitel hinzufügen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B5D52D3B-3D4F-F949-B3C7-6F518AD05F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21751"/>
            <a:ext cx="6187784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4214389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3817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6187785" cy="246221"/>
          </a:xfrm>
        </p:spPr>
        <p:txBody>
          <a:bodyPr anchor="b" anchorCtr="0"/>
          <a:lstStyle/>
          <a:p>
            <a:r>
              <a:rPr lang="de-DE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21751"/>
            <a:ext cx="6187784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/>
              <a:t>Kapitelüberschrift hinzufüge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3D737385-658B-4E09-8E19-E507E18FE28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/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  <a:p>
            <a:pPr lvl="7"/>
            <a:r>
              <a:rPr lang="de-DE"/>
              <a:t>Siebte Ebene</a:t>
            </a:r>
          </a:p>
        </p:txBody>
      </p:sp>
    </p:spTree>
    <p:extLst>
      <p:ext uri="{BB962C8B-B14F-4D97-AF65-F5344CB8AC3E}">
        <p14:creationId xmlns:p14="http://schemas.microsoft.com/office/powerpoint/2010/main" val="30502317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Spalte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6234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4" y="1239838"/>
            <a:ext cx="4032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  <a:p>
            <a:pPr lvl="7"/>
            <a:r>
              <a:rPr lang="de-DE"/>
              <a:t>Sieb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60900" y="1239838"/>
            <a:ext cx="4033468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  <a:p>
            <a:pPr lvl="7"/>
            <a:r>
              <a:rPr lang="de-DE"/>
              <a:t>Siebte Ebene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41F44C68-FBB4-FC48-9DF5-DC05718DA1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6187785" cy="246221"/>
          </a:xfrm>
        </p:spPr>
        <p:txBody>
          <a:bodyPr anchor="b" anchorCtr="0"/>
          <a:lstStyle/>
          <a:p>
            <a:r>
              <a:rPr lang="de-DE"/>
              <a:t>Folientitel hinzufügen</a:t>
            </a:r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B64E2AE2-4969-CA45-AD34-E4F71D8D1F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21751"/>
            <a:ext cx="6187784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2912199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Spalten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8199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4" y="1239838"/>
            <a:ext cx="4032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  <a:p>
            <a:pPr lvl="7"/>
            <a:r>
              <a:rPr lang="de-DE"/>
              <a:t>Siebte Ebe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3F1C607-D25A-49A4-9B79-3447DDCF5A0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660900" y="1239838"/>
            <a:ext cx="403225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/>
            </a:lvl1pPr>
          </a:lstStyle>
          <a:p>
            <a:r>
              <a:rPr lang="de-DE"/>
              <a:t>Durch Klicken auf das Symbol </a:t>
            </a:r>
            <a:br>
              <a:rPr lang="de-DE"/>
            </a:br>
            <a:r>
              <a:rPr lang="de-DE"/>
              <a:t>ein Bild einfügen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8BDF9F4E-EC02-384E-83CA-D4DBE88E45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6187785" cy="246221"/>
          </a:xfrm>
        </p:spPr>
        <p:txBody>
          <a:bodyPr anchor="b" anchorCtr="0"/>
          <a:lstStyle/>
          <a:p>
            <a:r>
              <a:rPr lang="de-DE"/>
              <a:t>Folientitel hinzufügen</a:t>
            </a:r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189778D3-A700-A948-B059-990B57AEAF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21751"/>
            <a:ext cx="6187784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13381726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Spalten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626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660900" y="1239838"/>
            <a:ext cx="4032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  <a:p>
            <a:pPr lvl="7"/>
            <a:r>
              <a:rPr lang="de-DE"/>
              <a:t>Siebte Ebe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3F1C607-D25A-49A4-9B79-3447DDCF5A0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49263" y="1239838"/>
            <a:ext cx="403225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/>
            </a:lvl1pPr>
          </a:lstStyle>
          <a:p>
            <a:r>
              <a:rPr lang="de-DE"/>
              <a:t>Durch Klicken auf das Symbol </a:t>
            </a:r>
            <a:br>
              <a:rPr lang="de-DE"/>
            </a:br>
            <a:r>
              <a:rPr lang="de-DE"/>
              <a:t>ein Bild einfügen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484C8F5B-92E8-3241-AFA1-5B8D4A9F5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6187785" cy="246221"/>
          </a:xfrm>
        </p:spPr>
        <p:txBody>
          <a:bodyPr anchor="b" anchorCtr="0"/>
          <a:lstStyle/>
          <a:p>
            <a:r>
              <a:rPr lang="de-DE"/>
              <a:t>Folientitel hinzufügen</a:t>
            </a:r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471AC733-9619-6C47-BFE8-A0B188250B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21751"/>
            <a:ext cx="6187784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1239802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9494226-E554-4FC7-B318-8585A96BFA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6078970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23" imgW="306" imgH="306" progId="TCLayout.ActiveDocument.1">
                  <p:embed/>
                </p:oleObj>
              </mc:Choice>
              <mc:Fallback>
                <p:oleObj name="think-cell Folie" r:id="rId2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9494226-E554-4FC7-B318-8585A96BF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3E8200DA-6877-4A0D-B76D-424E7DEE2674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0A3F1E2-0EAB-4319-8224-9763438BA8A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0"/>
            <a:ext cx="9144000" cy="90000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noAutofit/>
          </a:bodyPr>
          <a:lstStyle/>
          <a:p>
            <a:endParaRPr lang="de-DE" sz="400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9263" y="400266"/>
            <a:ext cx="7110000" cy="2462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/>
              <a:t>Folientitel hinzufüg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9263" y="1239838"/>
            <a:ext cx="8243887" cy="3348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  <a:p>
            <a:pPr lvl="7"/>
            <a:r>
              <a:rPr lang="de-DE"/>
              <a:t>Sieb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50851" y="4821794"/>
            <a:ext cx="877887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028950" y="4821794"/>
            <a:ext cx="30861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058CF539-B23E-4BD2-B4ED-407E3F88C054}"/>
              </a:ext>
            </a:extLst>
          </p:cNvPr>
          <p:cNvSpPr txBox="1"/>
          <p:nvPr userDrawn="1"/>
        </p:nvSpPr>
        <p:spPr bwMode="gray">
          <a:xfrm>
            <a:off x="8217542" y="4821794"/>
            <a:ext cx="47560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9ACF905-E6AB-4F18-8FD9-05C1F1B89C5F}" type="slidenum">
              <a:rPr lang="de-DE" sz="800" smtClean="0"/>
              <a:pPr algn="r"/>
              <a:t>‹Nr.›</a:t>
            </a:fld>
            <a:endParaRPr lang="de-DE" sz="800"/>
          </a:p>
        </p:txBody>
      </p:sp>
      <p:sp>
        <p:nvSpPr>
          <p:cNvPr id="26" name="Gleichschenkliges Dreieck 25">
            <a:extLst>
              <a:ext uri="{FF2B5EF4-FFF2-40B4-BE49-F238E27FC236}">
                <a16:creationId xmlns:a16="http://schemas.microsoft.com/office/drawing/2014/main" id="{4CF24CCE-A7B6-4EED-B681-30EEC164C9DD}"/>
              </a:ext>
            </a:extLst>
          </p:cNvPr>
          <p:cNvSpPr>
            <a:spLocks noChangeAspect="1"/>
          </p:cNvSpPr>
          <p:nvPr userDrawn="1"/>
        </p:nvSpPr>
        <p:spPr bwMode="gray">
          <a:xfrm flipV="1">
            <a:off x="344439" y="900000"/>
            <a:ext cx="215995" cy="108000"/>
          </a:xfrm>
          <a:prstGeom prst="triangle">
            <a:avLst/>
          </a:prstGeom>
          <a:solidFill>
            <a:schemeClr val="bg2"/>
          </a:solidFill>
        </p:spPr>
        <p:txBody>
          <a:bodyPr wrap="square" rtlCol="0">
            <a:noAutofit/>
          </a:bodyPr>
          <a:lstStyle/>
          <a:p>
            <a:endParaRPr lang="de-DE" sz="4000">
              <a:solidFill>
                <a:srgbClr val="333333"/>
              </a:solidFill>
              <a:latin typeface="Arial"/>
              <a:cs typeface="Arial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3B86E61B-1555-4B54-8C51-D0C2BAEE3892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DB04EBDB-6A7B-41F4-9D21-500C86167CBD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24C53E18-2E52-4A5A-BFE9-6E211A587297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46A5D2C9-8E80-4F2D-99C8-9C39CD844AC8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044A3345-E6E7-4E61-8442-D39B7168205E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31827FFE-80B9-477D-96AE-EAAD5AAE8410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B0D40870-2C76-4F71-BD42-6EFF05528E0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F4B1C61-34C8-45DA-AB77-603DA8383E83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A6AC9FD-F403-4379-8988-3954EBD52BDF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88E6779E-0635-4B7F-803D-E85697035A83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99D28C8A-CB08-4192-ABDD-A23FBD188DF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7E377B75-8EB1-4F25-8C6A-A135AD88514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3A6A6AF1-A6BE-4274-B88F-8252F09C734B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2ECDE6AF-4A10-46FF-B72E-92A482B3035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0BD9BC89-0BDB-4EBC-BE38-E58CB965319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72A33D83-7269-5142-ADDF-780DB2EAF974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rcRect/>
          <a:stretch/>
        </p:blipFill>
        <p:spPr>
          <a:xfrm>
            <a:off x="6751682" y="247351"/>
            <a:ext cx="1941467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804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9" r:id="rId4"/>
    <p:sldLayoutId id="2147483668" r:id="rId5"/>
    <p:sldLayoutId id="2147483671" r:id="rId6"/>
    <p:sldLayoutId id="2147483667" r:id="rId7"/>
    <p:sldLayoutId id="2147483672" r:id="rId8"/>
    <p:sldLayoutId id="2147483673" r:id="rId9"/>
    <p:sldLayoutId id="2147483679" r:id="rId10"/>
    <p:sldLayoutId id="2147483666" r:id="rId11"/>
    <p:sldLayoutId id="2147483674" r:id="rId12"/>
    <p:sldLayoutId id="2147483675" r:id="rId13"/>
    <p:sldLayoutId id="2147483665" r:id="rId14"/>
    <p:sldLayoutId id="2147483676" r:id="rId15"/>
    <p:sldLayoutId id="2147483677" r:id="rId16"/>
    <p:sldLayoutId id="2147483678" r:id="rId17"/>
    <p:sldLayoutId id="2147483670" r:id="rId18"/>
  </p:sldLayoutIdLs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89852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3" userDrawn="1">
          <p15:clr>
            <a:srgbClr val="F26B43"/>
          </p15:clr>
        </p15:guide>
        <p15:guide id="2" pos="2824" userDrawn="1">
          <p15:clr>
            <a:srgbClr val="F26B43"/>
          </p15:clr>
        </p15:guide>
        <p15:guide id="3" pos="2936" userDrawn="1">
          <p15:clr>
            <a:srgbClr val="F26B43"/>
          </p15:clr>
        </p15:guide>
        <p15:guide id="4" pos="5476" userDrawn="1">
          <p15:clr>
            <a:srgbClr val="F26B43"/>
          </p15:clr>
        </p15:guide>
        <p15:guide id="5" orient="horz" pos="781" userDrawn="1">
          <p15:clr>
            <a:srgbClr val="F26B43"/>
          </p15:clr>
        </p15:guide>
        <p15:guide id="6" orient="horz" pos="2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1.xml"/><Relationship Id="rId7" Type="http://schemas.openxmlformats.org/officeDocument/2006/relationships/oleObject" Target="../embeddings/oleObject20.bin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12" Type="http://schemas.openxmlformats.org/officeDocument/2006/relationships/image" Target="../media/image9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11" Type="http://schemas.openxmlformats.org/officeDocument/2006/relationships/hyperlink" Target="https://youtu.be/Hha85_wtJK4" TargetMode="External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8.sv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hk-nw.de/INA-Termin" TargetMode="External"/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platzhalter 1"/>
          <p:cNvPicPr>
            <a:picLocks noGrp="1" noChangeAspect="1"/>
          </p:cNvPicPr>
          <p:nvPr>
            <p:ph type="pic" sz="quarter" idx="1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65006"/>
            <a:ext cx="9142400" cy="3634930"/>
          </a:xfrm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52C012A-C73A-4B5A-8C1C-EA1777D97A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7" imgW="306" imgH="306" progId="TCLayout.ActiveDocument.1">
                  <p:embed/>
                </p:oleObj>
              </mc:Choice>
              <mc:Fallback>
                <p:oleObj name="think-cell Folie" r:id="rId7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52C012A-C73A-4B5A-8C1C-EA1777D97A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AFFE0B88-95F2-4F5F-A9FC-27025AD6024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F6C849-41DC-466E-B828-ED90967D4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60800" y="2369389"/>
            <a:ext cx="4881600" cy="1100359"/>
          </a:xfrm>
        </p:spPr>
        <p:txBody>
          <a:bodyPr/>
          <a:lstStyle/>
          <a:p>
            <a:r>
              <a:rPr lang="de-DE" sz="2400" dirty="0"/>
              <a:t>2. Arbeitgeber Forum im Kreis Coesfeld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0EB60AD9-F5AA-4207-B192-EF21CAD8C2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60800" y="3469748"/>
            <a:ext cx="4881600" cy="576000"/>
          </a:xfrm>
        </p:spPr>
        <p:txBody>
          <a:bodyPr/>
          <a:lstStyle/>
          <a:p>
            <a:r>
              <a:rPr lang="de-DE" dirty="0"/>
              <a:t>IHK Projekt - INA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B4453B2-3C85-4859-BB8B-54B64D06A15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74242" y="3310271"/>
            <a:ext cx="1689896" cy="1334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6249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DAE66E8-D4CF-4999-B946-93E4E00D2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DAE66E8-D4CF-4999-B946-93E4E00D2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8CBE0D9D-13BD-48CF-99BA-6CF639D521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C3D3CB9-259F-4201-9D78-AA1B3F426A9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9263" y="1062858"/>
            <a:ext cx="7827634" cy="3858891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Bef>
                <a:spcPts val="1200"/>
              </a:spcBef>
            </a:pPr>
            <a:r>
              <a:rPr lang="de-DE" dirty="0"/>
              <a:t>	Mit INA Azubis finden  </a:t>
            </a:r>
          </a:p>
          <a:p>
            <a:pPr>
              <a:spcBef>
                <a:spcPts val="1200"/>
              </a:spcBef>
            </a:pPr>
            <a:endParaRPr lang="de-DE" dirty="0"/>
          </a:p>
          <a:p>
            <a:pPr>
              <a:spcBef>
                <a:spcPts val="1200"/>
              </a:spcBef>
            </a:pPr>
            <a:r>
              <a:rPr lang="de-DE" dirty="0"/>
              <a:t>	</a:t>
            </a:r>
            <a:endParaRPr lang="de-DE" b="0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1F84D30-2A9A-483A-AAD7-C6E5E583F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de-DE" dirty="0"/>
              <a:t>INA – Impulse zur Nachwuchsakquise und Fachkräftesicherung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2F1323-3238-4D6F-AA0B-72BCD1CCA2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de-DE" dirty="0"/>
              <a:t>IHK - Bildungspolitische Projekt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C258D6-1A04-4911-BA04-B13515F3687D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9985" y="1364483"/>
            <a:ext cx="2442279" cy="2158508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rafik 6" descr="Präsentation mit Medien mit einfarbiger Füllung">
            <a:extLst>
              <a:ext uri="{FF2B5EF4-FFF2-40B4-BE49-F238E27FC236}">
                <a16:creationId xmlns:a16="http://schemas.microsoft.com/office/drawing/2014/main" id="{85DAA4EE-497A-406A-AE54-D69710B43B5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7235" y="889136"/>
            <a:ext cx="565908" cy="565908"/>
          </a:xfrm>
          <a:prstGeom prst="rect">
            <a:avLst/>
          </a:prstGeom>
        </p:spPr>
      </p:pic>
      <p:pic>
        <p:nvPicPr>
          <p:cNvPr id="13" name="Grafik 12">
            <a:hlinkClick r:id="rId11"/>
            <a:extLst>
              <a:ext uri="{FF2B5EF4-FFF2-40B4-BE49-F238E27FC236}">
                <a16:creationId xmlns:a16="http://schemas.microsoft.com/office/drawing/2014/main" id="{7171A748-4B42-DAB2-ADD0-54F4FB56403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8833" y="1628766"/>
            <a:ext cx="5462627" cy="3074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4860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DAE66E8-D4CF-4999-B946-93E4E00D2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DAE66E8-D4CF-4999-B946-93E4E00D2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8CBE0D9D-13BD-48CF-99BA-6CF639D521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BCB2086-D553-4CA7-83E5-A8FD38C4D2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4081" y="2220433"/>
            <a:ext cx="2857500" cy="2857500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C3D3CB9-259F-4201-9D78-AA1B3F426A9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9263" y="1062858"/>
            <a:ext cx="7827634" cy="3858891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Bef>
                <a:spcPts val="1200"/>
              </a:spcBef>
            </a:pPr>
            <a:r>
              <a:rPr lang="de-DE" dirty="0"/>
              <a:t>Recruiting Tipps auf unserer Website: </a:t>
            </a:r>
          </a:p>
          <a:p>
            <a:pPr>
              <a:spcBef>
                <a:spcPts val="1200"/>
              </a:spcBef>
            </a:pPr>
            <a:endParaRPr lang="de-DE" dirty="0"/>
          </a:p>
          <a:p>
            <a:pPr>
              <a:spcBef>
                <a:spcPts val="1200"/>
              </a:spcBef>
            </a:pPr>
            <a:r>
              <a:rPr lang="de-DE" dirty="0"/>
              <a:t>	</a:t>
            </a:r>
            <a:r>
              <a:rPr lang="de-DE" b="0" dirty="0"/>
              <a:t>www.ihk.de/nordwestfalen/ausbildungsmarketing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1F84D30-2A9A-483A-AAD7-C6E5E583F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de-DE" dirty="0"/>
              <a:t>INA – Impulse zur Nachwuchsakquise und Fachkräftesicherung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2F1323-3238-4D6F-AA0B-72BCD1CCA2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de-DE" dirty="0"/>
              <a:t>IHK - Bildungspolitische Projekt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C258D6-1A04-4911-BA04-B13515F3687D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9985" y="1364483"/>
            <a:ext cx="2442279" cy="215850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23757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DAE66E8-D4CF-4999-B946-93E4E00D2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DAE66E8-D4CF-4999-B946-93E4E00D2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8CBE0D9D-13BD-48CF-99BA-6CF639D521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C3D3CB9-259F-4201-9D78-AA1B3F426A9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9263" y="1062858"/>
            <a:ext cx="7943370" cy="3858891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Bef>
                <a:spcPts val="1200"/>
              </a:spcBef>
            </a:pPr>
            <a:r>
              <a:rPr lang="de-DE" b="0" dirty="0"/>
              <a:t>INA – unterstützt vor allem KMU im Ausbildungsmarketing,  Azubi-Recruiting und der Fachkräftebindung mit den Themen: </a:t>
            </a:r>
          </a:p>
          <a:p>
            <a:pPr>
              <a:lnSpc>
                <a:spcPts val="100"/>
              </a:lnSpc>
              <a:spcBef>
                <a:spcPts val="1200"/>
              </a:spcBef>
            </a:pPr>
            <a:endParaRPr lang="de-DE" dirty="0"/>
          </a:p>
          <a:p>
            <a:pPr marL="285750" indent="-285750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1"/>
                </a:solidFill>
              </a:rPr>
              <a:t>Als Ausbildungsbetrieb sichtbar werden </a:t>
            </a:r>
          </a:p>
          <a:p>
            <a:pPr marL="285750" indent="-285750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1"/>
                </a:solidFill>
              </a:rPr>
              <a:t>Verständnis für die neue Generation entwickeln</a:t>
            </a:r>
          </a:p>
          <a:p>
            <a:pPr marL="285750" indent="-285750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1"/>
                </a:solidFill>
              </a:rPr>
              <a:t>In Kontakt mit dieser Zielgruppe kommen</a:t>
            </a:r>
          </a:p>
          <a:p>
            <a:pPr marL="285750" indent="-285750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1"/>
                </a:solidFill>
              </a:rPr>
              <a:t>Veränderungen des Ausbildungsmarktes verstehen</a:t>
            </a:r>
          </a:p>
          <a:p>
            <a:pPr>
              <a:buClr>
                <a:srgbClr val="00B0F0"/>
              </a:buClr>
            </a:pPr>
            <a:r>
              <a:rPr lang="de-DE" b="0" dirty="0">
                <a:solidFill>
                  <a:schemeClr val="tx1"/>
                </a:solidFill>
              </a:rPr>
              <a:t>     und reagieren </a:t>
            </a:r>
          </a:p>
          <a:p>
            <a:pPr>
              <a:buClr>
                <a:srgbClr val="003366"/>
              </a:buClr>
            </a:pPr>
            <a:endParaRPr lang="de-DE" sz="800" b="0" dirty="0">
              <a:solidFill>
                <a:schemeClr val="tx1"/>
              </a:solidFill>
            </a:endParaRPr>
          </a:p>
          <a:p>
            <a:pPr>
              <a:buClr>
                <a:srgbClr val="003366"/>
              </a:buClr>
            </a:pPr>
            <a:r>
              <a:rPr lang="de-DE" b="0" dirty="0">
                <a:solidFill>
                  <a:schemeClr val="tx1"/>
                </a:solidFill>
              </a:rPr>
              <a:t>Buchen Sie Ihr persönliches Beratungsgespräch direkt hier: </a:t>
            </a:r>
            <a:r>
              <a:rPr lang="de-DE" b="0" u="sng" dirty="0">
                <a:solidFill>
                  <a:srgbClr val="00B0F0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hk-nw.de/INA-Termin </a:t>
            </a:r>
            <a:endParaRPr lang="de-DE" b="0" u="sng" dirty="0">
              <a:solidFill>
                <a:srgbClr val="00B0F0"/>
              </a:solidFill>
            </a:endParaRPr>
          </a:p>
          <a:p>
            <a:pPr>
              <a:buClr>
                <a:srgbClr val="003366"/>
              </a:buClr>
            </a:pPr>
            <a:endParaRPr lang="de-DE" sz="800" b="0" dirty="0">
              <a:solidFill>
                <a:schemeClr val="tx1"/>
              </a:solidFill>
            </a:endParaRPr>
          </a:p>
          <a:p>
            <a:pPr>
              <a:buClr>
                <a:srgbClr val="003366"/>
              </a:buClr>
            </a:pPr>
            <a:r>
              <a:rPr lang="de-DE" b="0" dirty="0"/>
              <a:t>Nächstes Webinar aus der INA Reihe: </a:t>
            </a:r>
          </a:p>
          <a:p>
            <a:pPr>
              <a:buClr>
                <a:srgbClr val="003366"/>
              </a:buClr>
            </a:pPr>
            <a:r>
              <a:rPr lang="de-DE" b="0" dirty="0">
                <a:solidFill>
                  <a:schemeClr val="tx1"/>
                </a:solidFill>
              </a:rPr>
              <a:t>30.08.2022, Zukunftstrends in der Arbeitswelt mit Dr. Steffi Burkhart 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1F84D30-2A9A-483A-AAD7-C6E5E583F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de-DE" dirty="0"/>
              <a:t>INA – Impulse zur Nachwuchsakquise und Fachkräftesicherung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2F1323-3238-4D6F-AA0B-72BCD1CCA2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de-DE" dirty="0"/>
              <a:t>IHK - Bildungspolitische Projekt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C258D6-1A04-4911-BA04-B13515F3687D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9985" y="1364483"/>
            <a:ext cx="2442279" cy="215850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74420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986603-6840-4C03-903F-F0EC073BF2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ielen Dank!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7C702A7-F68C-476D-A6BF-2F5085E1C65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Gibt es noch Fragen? Ich beantworte Sie Ihnen gerne.  </a:t>
            </a:r>
          </a:p>
        </p:txBody>
      </p:sp>
    </p:spTree>
    <p:extLst>
      <p:ext uri="{BB962C8B-B14F-4D97-AF65-F5344CB8AC3E}">
        <p14:creationId xmlns:p14="http://schemas.microsoft.com/office/powerpoint/2010/main" val="3771177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ZroOkhcWrdmzHqHrIk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ULt_S5ngpdG9pG4Gvk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8F2MDbrSNyld8TksWPX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8F2MDbrSNyld8TksWPX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8F2MDbrSNyld8TksWP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heme/theme1.xml><?xml version="1.0" encoding="utf-8"?>
<a:theme xmlns:a="http://schemas.openxmlformats.org/drawingml/2006/main" name="IHK Nord Westfalen_Master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72000" rIns="108000" bIns="72000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B3B2B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custClrLst>
    <a:custClr name="Titan 100%">
      <a:srgbClr val="575756"/>
    </a:custClr>
    <a:custClr name="Titan 80%">
      <a:srgbClr val="797978"/>
    </a:custClr>
    <a:custClr name="Titan 70%">
      <a:srgbClr val="8A8A89"/>
    </a:custClr>
    <a:custClr name="Titan 60%">
      <a:srgbClr val="9A9A9A"/>
    </a:custClr>
    <a:custClr name="Titan 50%">
      <a:srgbClr val="ABABAA"/>
    </a:custClr>
    <a:custClr name="Titan 40%">
      <a:srgbClr val="BCBCBB"/>
    </a:custClr>
    <a:custClr name="Titan 30%">
      <a:srgbClr val="CCCCCC"/>
    </a:custClr>
    <a:custClr name="Titan 20%">
      <a:srgbClr val="DDDDDD"/>
    </a:custClr>
    <a:custClr name="Titan 10%">
      <a:srgbClr val="EEEEEE"/>
    </a:custClr>
    <a:custClr name="White">
      <a:srgbClr val="FFFFFF"/>
    </a:custClr>
    <a:custClr name="Sky 100%">
      <a:srgbClr val="009ED4"/>
    </a:custClr>
    <a:custClr name="Sky 80%">
      <a:srgbClr val="33B1DD"/>
    </a:custClr>
    <a:custClr name="Sky 70%">
      <a:srgbClr val="4DBBE1"/>
    </a:custClr>
    <a:custClr name="Sky 60%">
      <a:srgbClr val="66C5E5"/>
    </a:custClr>
    <a:custClr name="Sky 50%">
      <a:srgbClr val="7FCEE9"/>
    </a:custClr>
    <a:custClr name="Sky 40%">
      <a:srgbClr val="99D8EE"/>
    </a:custClr>
    <a:custClr name="Sky 30%">
      <a:srgbClr val="B2E2F2"/>
    </a:custClr>
    <a:custClr name="Sky 20%">
      <a:srgbClr val="CCECF6"/>
    </a:custClr>
    <a:custClr name="Sky 10%">
      <a:srgbClr val="E5F5FB"/>
    </a:custClr>
    <a:custClr name="White">
      <a:srgbClr val="FFFFFF"/>
    </a:custClr>
    <a:custClr name="Ocean">
      <a:srgbClr val="003366"/>
    </a:custClr>
    <a:custClr name="Lime">
      <a:srgbClr val="76B82A"/>
    </a:custClr>
    <a:custClr name="Hibiskus">
      <a:srgbClr val="E40D2E"/>
    </a:custClr>
    <a:custClr name="Mauve">
      <a:srgbClr val="9F5098"/>
    </a:custClr>
    <a:custClr name="Mandarin">
      <a:srgbClr val="F0821A"/>
    </a:custClr>
    <a:custClr name="Sun">
      <a:srgbClr val="FFCE00"/>
    </a:custClr>
    <a:custClr name="Stone">
      <a:srgbClr val="B1B3B4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A47B4D4596DED4CAE43EEB5C5E198D7" ma:contentTypeVersion="16" ma:contentTypeDescription="Ein neues Dokument erstellen." ma:contentTypeScope="" ma:versionID="861f3d860d25b50efcc9a6968b5782f9">
  <xsd:schema xmlns:xsd="http://www.w3.org/2001/XMLSchema" xmlns:xs="http://www.w3.org/2001/XMLSchema" xmlns:p="http://schemas.microsoft.com/office/2006/metadata/properties" xmlns:ns2="4e0d6ce0-2874-42e9-ac8e-17103f532e27" xmlns:ns3="474e530b-1f5f-4982-ad02-49e86805af03" targetNamespace="http://schemas.microsoft.com/office/2006/metadata/properties" ma:root="true" ma:fieldsID="f87cd41af21cf0db845533b5c82a1607" ns2:_="" ns3:_="">
    <xsd:import namespace="4e0d6ce0-2874-42e9-ac8e-17103f532e27"/>
    <xsd:import namespace="474e530b-1f5f-4982-ad02-49e86805af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0d6ce0-2874-42e9-ac8e-17103f532e2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01f56d65-4b56-46fb-bb07-dd72c695723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4e530b-1f5f-4982-ad02-49e86805af03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528b463c-5faa-451f-8bb3-442079e646c0}" ma:internalName="TaxCatchAll" ma:showField="CatchAllData" ma:web="474e530b-1f5f-4982-ad02-49e86805af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e0d6ce0-2874-42e9-ac8e-17103f532e27">
      <Terms xmlns="http://schemas.microsoft.com/office/infopath/2007/PartnerControls"/>
    </lcf76f155ced4ddcb4097134ff3c332f>
    <TaxCatchAll xmlns="474e530b-1f5f-4982-ad02-49e86805af03" xsi:nil="true"/>
  </documentManagement>
</p:properties>
</file>

<file path=customXml/itemProps1.xml><?xml version="1.0" encoding="utf-8"?>
<ds:datastoreItem xmlns:ds="http://schemas.openxmlformats.org/officeDocument/2006/customXml" ds:itemID="{EBE862E1-FCAB-4E53-AC76-2B2ECC0B415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e0d6ce0-2874-42e9-ac8e-17103f532e27"/>
    <ds:schemaRef ds:uri="474e530b-1f5f-4982-ad02-49e86805af0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BAD78B4-BEFE-4E6A-B5E7-850F85723ED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5643ED1-A26D-41BC-AA65-0CE068BF1FF6}">
  <ds:schemaRefs>
    <ds:schemaRef ds:uri="474e530b-1f5f-4982-ad02-49e86805af03"/>
    <ds:schemaRef ds:uri="http://purl.org/dc/elements/1.1/"/>
    <ds:schemaRef ds:uri="4e0d6ce0-2874-42e9-ac8e-17103f532e27"/>
    <ds:schemaRef ds:uri="http://www.w3.org/XML/1998/namespace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7</Words>
  <Application>Microsoft Office PowerPoint</Application>
  <PresentationFormat>Bildschirmpräsentation (16:9)</PresentationFormat>
  <Paragraphs>32</Paragraphs>
  <Slides>5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9" baseType="lpstr">
      <vt:lpstr>Arial</vt:lpstr>
      <vt:lpstr>Wingdings</vt:lpstr>
      <vt:lpstr>IHK Nord Westfalen_Master</vt:lpstr>
      <vt:lpstr>think-cell Folie</vt:lpstr>
      <vt:lpstr>2. Arbeitgeber Forum im Kreis Coesfeld</vt:lpstr>
      <vt:lpstr>INA – Impulse zur Nachwuchsakquise und Fachkräftesicherung</vt:lpstr>
      <vt:lpstr>INA – Impulse zur Nachwuchsakquise und Fachkräftesicherung</vt:lpstr>
      <vt:lpstr>INA – Impulse zur Nachwuchsakquise und Fachkräftesicherung</vt:lpstr>
      <vt:lpstr>Vielen Dank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aulina Haeutle | i-pointing</dc:creator>
  <cp:lastModifiedBy>Melanie Vennemann</cp:lastModifiedBy>
  <cp:revision>308</cp:revision>
  <cp:lastPrinted>2022-06-13T09:21:31Z</cp:lastPrinted>
  <dcterms:created xsi:type="dcterms:W3CDTF">2020-02-03T10:15:21Z</dcterms:created>
  <dcterms:modified xsi:type="dcterms:W3CDTF">2022-06-29T08:0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A47B4D4596DED4CAE43EEB5C5E198D7</vt:lpwstr>
  </property>
</Properties>
</file>